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2723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682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cm.co.uk/planner" TargetMode="Externa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5DCAEB16-A3E6-486E-8CB2-84FEB097B023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8" r="1638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2 October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lessandro </a:t>
            </a:r>
            <a:r>
              <a:rPr lang="en-US" dirty="0" err="1">
                <a:solidFill>
                  <a:schemeClr val="accent6"/>
                </a:solidFill>
              </a:rPr>
              <a:t>Nivola</a:t>
            </a:r>
            <a:r>
              <a:rPr lang="en-US" dirty="0">
                <a:solidFill>
                  <a:schemeClr val="accent6"/>
                </a:solidFill>
              </a:rPr>
              <a:t>, Leslie Odom Jr., Jon </a:t>
            </a:r>
            <a:r>
              <a:rPr lang="en-US" dirty="0" err="1">
                <a:solidFill>
                  <a:schemeClr val="accent6"/>
                </a:solidFill>
              </a:rPr>
              <a:t>Bernthal</a:t>
            </a: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lan Taylor (</a:t>
            </a:r>
            <a:r>
              <a:rPr lang="en-US" i="1" dirty="0">
                <a:solidFill>
                  <a:schemeClr val="accent6"/>
                </a:solidFill>
              </a:rPr>
              <a:t>Thor: The Dark World, Terminator: </a:t>
            </a:r>
            <a:r>
              <a:rPr lang="en-US" i="1" dirty="0" err="1">
                <a:solidFill>
                  <a:schemeClr val="accent6"/>
                </a:solidFill>
              </a:rPr>
              <a:t>Genisys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Black Mass, Legend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e Sopranos is one of television’s most beloved and critically-acclaimed shows, and this prequel film features an all-star cast set to play younger version of the original players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BC1 Men Index: 155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33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A look at the formative years of New Jersey gangster, Tony Soprano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The Many Saints of Newark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A television classic debuts on the big screen!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3967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5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The Many Saints of Newark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4 2021</dc:title>
  <dc:creator/>
  <dc:description>The Many Saints of Newark</dc:description>
  <cp:lastModifiedBy/>
  <cp:revision>1</cp:revision>
  <dcterms:created xsi:type="dcterms:W3CDTF">2019-03-25T11:13:20Z</dcterms:created>
  <dcterms:modified xsi:type="dcterms:W3CDTF">2021-07-07T10:36:15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4 2021</vt:lpwstr>
  </property>
  <property fmtid="{D5CDD505-2E9C-101B-9397-08002B2CF9AE}" pid="4" name="SlideDescription">
    <vt:lpwstr>The Many Saints of Newark</vt:lpwstr>
  </property>
</Properties>
</file>